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1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dirty="0"/>
                      <a:t>{number_19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C62-4AE2-BA19-9191F42B4D6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0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C62-4AE2-BA19-9191F42B4D6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1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C62-4AE2-BA19-9191F42B4D67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C62-4AE2-BA19-9191F42B4D6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3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C62-4AE2-BA19-9191F42B4D6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4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C62-4AE2-BA19-9191F42B4D6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5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C62-4AE2-BA19-9191F42B4D67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6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C62-4AE2-BA19-9191F42B4D67}"/>
                </c:ext>
              </c:extLst>
            </c:dLbl>
            <c:dLbl>
              <c:idx val="8"/>
              <c:layout>
                <c:manualLayout>
                  <c:x val="0"/>
                  <c:y val="-2.8248587570622505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7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C62-4AE2-BA19-9191F42B4D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#,##0.0;"-"#,##0.0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C62-4AE2-BA19-9191F42B4D67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dirty="0"/>
                      <a:t>{number_10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C62-4AE2-BA19-9191F42B4D6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1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C62-4AE2-BA19-9191F42B4D6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C62-4AE2-BA19-9191F42B4D6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3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DC62-4AE2-BA19-9191F42B4D6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4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C62-4AE2-BA19-9191F42B4D67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5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C62-4AE2-BA19-9191F42B4D6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6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C62-4AE2-BA19-9191F42B4D67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7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C62-4AE2-BA19-9191F42B4D67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8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DC62-4AE2-BA19-9191F42B4D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#,##0.0;"-"#,##0.0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DC62-4AE2-BA19-9191F42B4D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89200239"/>
        <c:axId val="1"/>
      </c:barChart>
      <c:catAx>
        <c:axId val="9892002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#,##0.0;&quot;-&quot;#,##0.0" sourceLinked="1"/>
        <c:majorTickMark val="out"/>
        <c:minorTickMark val="none"/>
        <c:tickLblPos val="nextTo"/>
        <c:crossAx val="9892002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  <c:userShapes r:id="rId2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10594</cdr:x>
      <cdr:y>0.08408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A6495994-AB07-49E3-91CA-70FBD50C6EBD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25402" cy="377985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563029-226C-442C-91BA-B8A9D488DB1F}" type="datetimeFigureOut">
              <a:rPr lang="zh-CN" altLang="en-US" smtClean="0"/>
              <a:t>2025/9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6B1D1E-982B-46C1-ACC8-8FFDF17189B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566870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2613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068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29807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70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7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27129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5573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71230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notesSlide" Target="../notesSlides/notesSlide1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chart" Target="../charts/chart1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slideLayout" Target="../slideLayouts/slideLayout5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image" Target="../media/image5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30" imgW="360" imgH="360" progId="TCLayout.ActiveDocument.1">
                  <p:embed/>
                </p:oleObj>
              </mc:Choice>
              <mc:Fallback>
                <p:oleObj name="think-cell 幻灯片" r:id="rId30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932DCA58-8DD2-4313-A04E-BF77888F6801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0F36A7-C487-6886-60FD-44225A77332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036638" y="1579563"/>
            <a:ext cx="10134600" cy="16668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2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3}</a:t>
            </a: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4}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5}</a:t>
            </a: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6}</a:t>
            </a: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405813" y="5507038"/>
            <a:ext cx="41038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7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8}</a:t>
            </a: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9}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4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5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6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7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8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9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546725" y="2262188"/>
            <a:ext cx="1114425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label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labe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14246734-1CCD-F170-5573-2566148AF19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3700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rrows, stacked, column, columns, bar, bars, think-cell, chart, charts, graph, graphs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A5A4CAC-3834-8DAD-4BE7-FA2B6E2BDDEC}"/>
              </a:ext>
            </a:extLst>
          </p:cNvPr>
          <p:cNvSpPr txBox="1">
            <a:spLocks/>
          </p:cNvSpPr>
          <p:nvPr/>
        </p:nvSpPr>
        <p:spPr>
          <a:xfrm>
            <a:off x="407987" y="886115"/>
            <a:ext cx="7266164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ext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0278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f9iCf62BesnuSCkBsk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nwI6xwV5L6p_U69WS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4</Words>
  <Application>Microsoft Office PowerPoint</Application>
  <PresentationFormat>宽屏</PresentationFormat>
  <Paragraphs>4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3T05:18:53Z</dcterms:created>
  <dcterms:modified xsi:type="dcterms:W3CDTF">2025-09-03T05:19:09Z</dcterms:modified>
</cp:coreProperties>
</file>